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7"/>
  </p:notesMasterIdLst>
  <p:sldIdLst>
    <p:sldId id="270" r:id="rId4"/>
    <p:sldId id="289" r:id="rId5"/>
    <p:sldId id="301" r:id="rId6"/>
    <p:sldId id="299" r:id="rId7"/>
    <p:sldId id="294" r:id="rId8"/>
    <p:sldId id="290" r:id="rId9"/>
    <p:sldId id="300" r:id="rId10"/>
    <p:sldId id="292" r:id="rId11"/>
    <p:sldId id="293" r:id="rId12"/>
    <p:sldId id="296" r:id="rId13"/>
    <p:sldId id="298" r:id="rId14"/>
    <p:sldId id="297" r:id="rId15"/>
    <p:sldId id="30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4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7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3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353" y="1416010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Performance </a:t>
            </a:r>
            <a:r>
              <a:rPr lang="en-US" altLang="zh-CN" dirty="0">
                <a:sym typeface="+mn-lt"/>
              </a:rPr>
              <a:t>and Sign-in </a:t>
            </a:r>
            <a:r>
              <a:rPr lang="zh-CN" altLang="en-US" dirty="0">
                <a:sym typeface="+mn-lt"/>
              </a:rPr>
              <a:t>表演及现场互动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6264832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4023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4023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64832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ign-in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签到及其他互动环节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Hospitality </a:t>
            </a:r>
            <a:r>
              <a:rPr lang="zh-CN" altLang="en-US" dirty="0">
                <a:sym typeface="+mn-lt"/>
              </a:rPr>
              <a:t>礼仪及其他工作人员</a:t>
            </a:r>
            <a:endParaRPr lang="en-US" dirty="0"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5597" y="1146150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146150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工作人员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6264832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5597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6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5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3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78036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111815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Campaign ID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ID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下的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1586992"/>
              </p:ext>
            </p:extLst>
          </p:nvPr>
        </p:nvGraphicFramePr>
        <p:xfrm>
          <a:off x="539751" y="1205410"/>
          <a:ext cx="11079992" cy="53242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0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87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27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67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852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949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7695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50361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客户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前是否已有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549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549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1057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375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6375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414945"/>
              </p:ext>
            </p:extLst>
          </p:nvPr>
        </p:nvGraphicFramePr>
        <p:xfrm>
          <a:off x="544310" y="3164422"/>
          <a:ext cx="11048533" cy="3239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erformance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9906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MC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779542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Hospitalit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12637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7684753"/>
              </p:ext>
            </p:extLst>
          </p:nvPr>
        </p:nvGraphicFramePr>
        <p:xfrm>
          <a:off x="539750" y="1254424"/>
          <a:ext cx="11079992" cy="4762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2412">
                  <a:extLst>
                    <a:ext uri="{9D8B030D-6E8A-4147-A177-3AD203B41FA5}">
                      <a16:colId xmlns:a16="http://schemas.microsoft.com/office/drawing/2014/main" val="1701192910"/>
                    </a:ext>
                  </a:extLst>
                </a:gridCol>
                <a:gridCol w="22924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951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tartTime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开始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ndTim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结束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62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64047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（动态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静态）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8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177026" y="6314606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</TotalTime>
  <Words>582</Words>
  <Application>Microsoft Office PowerPoint</Application>
  <PresentationFormat>宽屏</PresentationFormat>
  <Paragraphs>150</Paragraphs>
  <Slides>13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5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PowerPoint 演示文稿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64</cp:revision>
  <dcterms:created xsi:type="dcterms:W3CDTF">2022-02-15T07:41:51Z</dcterms:created>
  <dcterms:modified xsi:type="dcterms:W3CDTF">2022-04-23T08:48:53Z</dcterms:modified>
</cp:coreProperties>
</file>